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tl="1" removePersonalInfoOnSave="1" strictFirstAndLastChars="0" saveSubsetFonts="1">
  <p:sldMasterIdLst>
    <p:sldMasterId id="2147483733" r:id="rId1"/>
  </p:sldMasterIdLst>
  <p:notesMasterIdLst>
    <p:notesMasterId r:id="rId26"/>
  </p:notesMasterIdLst>
  <p:sldIdLst>
    <p:sldId id="256" r:id="rId2"/>
    <p:sldId id="285" r:id="rId3"/>
    <p:sldId id="264" r:id="rId4"/>
    <p:sldId id="257" r:id="rId5"/>
    <p:sldId id="265" r:id="rId6"/>
    <p:sldId id="275" r:id="rId7"/>
    <p:sldId id="274" r:id="rId8"/>
    <p:sldId id="266" r:id="rId9"/>
    <p:sldId id="267" r:id="rId10"/>
    <p:sldId id="277" r:id="rId11"/>
    <p:sldId id="258" r:id="rId12"/>
    <p:sldId id="284" r:id="rId13"/>
    <p:sldId id="259" r:id="rId14"/>
    <p:sldId id="286" r:id="rId15"/>
    <p:sldId id="262" r:id="rId16"/>
    <p:sldId id="287" r:id="rId17"/>
    <p:sldId id="261" r:id="rId18"/>
    <p:sldId id="276" r:id="rId19"/>
    <p:sldId id="289" r:id="rId20"/>
    <p:sldId id="263" r:id="rId21"/>
    <p:sldId id="281" r:id="rId22"/>
    <p:sldId id="288" r:id="rId23"/>
    <p:sldId id="280" r:id="rId24"/>
    <p:sldId id="283" r:id="rId25"/>
  </p:sldIdLst>
  <p:sldSz cx="8961438" cy="6721475"/>
  <p:notesSz cx="6808788" cy="9940925"/>
  <p:defaultTextStyle>
    <a:defPPr algn="r" rtl="1">
      <a:defRPr lang="prs"/>
    </a:defPPr>
    <a:lvl1pPr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1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r" defTabSz="914400" rtl="1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793" autoAdjust="0"/>
    <p:restoredTop sz="95232" autoAdjust="0"/>
  </p:normalViewPr>
  <p:slideViewPr>
    <p:cSldViewPr snapToGrid="0">
      <p:cViewPr varScale="1">
        <p:scale>
          <a:sx n="76" d="100"/>
          <a:sy n="76" d="100"/>
        </p:scale>
        <p:origin x="-1200" y="-90"/>
      </p:cViewPr>
      <p:guideLst>
        <p:guide orient="horz" pos="618"/>
        <p:guide orient="horz" pos="475"/>
        <p:guide orient="horz" pos="421"/>
        <p:guide orient="horz" pos="3742"/>
        <p:guide orient="horz" pos="3635"/>
        <p:guide orient="horz" pos="698"/>
        <p:guide orient="horz" pos="4089"/>
        <p:guide orient="horz" pos="671"/>
        <p:guide orient="horz" pos="3803"/>
        <p:guide pos="185"/>
        <p:guide pos="5461"/>
        <p:guide pos="3907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 rtl="1">
              <a:defRPr sz="1200"/>
            </a:lvl1pPr>
          </a:lstStyle>
          <a:p>
            <a:pPr rtl="1"/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 rtl="1">
              <a:defRPr sz="1200"/>
            </a:lvl1pPr>
          </a:lstStyle>
          <a:p>
            <a:pPr rtl="1"/>
            <a:r>
              <a:rPr lang="sv-SE" smtClean="0"/>
              <a:t>2016-04-18</a:t>
            </a:r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pPr rtl="1"/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 rtl="1"/>
            <a:r>
              <a:rPr lang="prs"/>
              <a:t>Click to edit Master text styles</a:t>
            </a:r>
          </a:p>
          <a:p>
            <a:pPr lvl="1" rtl="1"/>
            <a:r>
              <a:rPr lang="prs"/>
              <a:t>Second level</a:t>
            </a:r>
          </a:p>
          <a:p>
            <a:pPr lvl="2" rtl="1"/>
            <a:r>
              <a:rPr lang="prs"/>
              <a:t>Third level</a:t>
            </a:r>
          </a:p>
          <a:p>
            <a:pPr lvl="3" rtl="1"/>
            <a:r>
              <a:rPr lang="prs"/>
              <a:t>Fourth level</a:t>
            </a:r>
          </a:p>
          <a:p>
            <a:pPr lvl="4" rtl="1"/>
            <a:r>
              <a:rPr lang="pr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 rtl="1">
              <a:defRPr sz="1200"/>
            </a:lvl1pPr>
          </a:lstStyle>
          <a:p>
            <a:pPr rtl="1"/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 rtl="1">
              <a:defRPr sz="1200"/>
            </a:lvl1pPr>
          </a:lstStyle>
          <a:p>
            <a:pPr rtl="1"/>
            <a:fld id="{723EF66E-19A1-4AC8-A000-D07CFC09E812}" type="slidenum">
              <a:rPr lang="sv-SE" smtClean="0"/>
              <a:pPr rtl="1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02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660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8845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rtl="1"/>
            <a:fld id="{723EF66E-19A1-4AC8-A000-D07CFC09E812}" type="slidenum">
              <a:rPr lang="sv-SE" smtClean="0"/>
              <a:pPr rtl="1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8657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9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7512"/>
            <a:ext cx="5168901" cy="215444"/>
          </a:xfrm>
        </p:spPr>
        <p:txBody>
          <a:bodyPr wrap="square" rtlCol="1">
            <a:spAutoFit/>
          </a:bodyPr>
          <a:lstStyle>
            <a:lvl1pPr algn="r" rtl="1">
              <a:defRPr sz="1400">
                <a:solidFill>
                  <a:schemeClr val="tx1"/>
                </a:solidFill>
              </a:defRPr>
            </a:lvl1pPr>
          </a:lstStyle>
          <a:p>
            <a:pPr rtl="1"/>
            <a:r>
              <a:rPr lang="prs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95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 rtl="1"/>
            <a:r>
              <a:rPr lang="prs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22290"/>
            <a:ext cx="5172084" cy="523220"/>
          </a:xfrm>
        </p:spPr>
        <p:txBody>
          <a:bodyPr rtlCol="1" anchor="b" anchorCtr="0"/>
          <a:lstStyle>
            <a:lvl1pPr algn="r" rtl="1">
              <a:defRPr sz="3400" b="0" cap="none" baseline="0">
                <a:solidFill>
                  <a:srgbClr val="E6460A"/>
                </a:solidFill>
              </a:defRPr>
            </a:lvl1pPr>
          </a:lstStyle>
          <a:p>
            <a:pPr rtl="1"/>
            <a:r>
              <a:rPr lang="prs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3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 rtlCol="1"/>
          <a:lstStyle>
            <a:lvl1pPr algn="r" rtl="1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1"/>
            <a:r>
              <a:rPr lang="prs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pr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7453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1"/>
            <a:r>
              <a:rPr lang="pr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8375650" cy="500062"/>
          </a:xfrm>
        </p:spPr>
        <p:txBody>
          <a:bodyPr rtlCol="1" anchor="b" anchorCtr="0"/>
          <a:lstStyle>
            <a:lvl1pPr marL="615950" indent="-615950" algn="r" defTabSz="627063" rtl="1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prs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prs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prs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08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 rtlCol="1"/>
          <a:lstStyle>
            <a:lvl1pPr algn="r" rtl="1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1"/>
            <a:r>
              <a:rPr lang="prs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pr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4355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5888735"/>
          </a:xfrm>
        </p:spPr>
        <p:txBody>
          <a:bodyPr rtlCol="1"/>
          <a:lstStyle/>
          <a:p>
            <a:pPr rtl="1"/>
            <a:r>
              <a:rPr lang="prs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1"/>
            <a:r>
              <a:rPr lang="pr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5781797" cy="500062"/>
          </a:xfrm>
        </p:spPr>
        <p:txBody>
          <a:bodyPr rtlCol="1" anchor="b" anchorCtr="0"/>
          <a:lstStyle>
            <a:lvl1pPr marL="615950" indent="-615950" algn="r" defTabSz="627063" rtl="1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prs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prs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1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prs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 rtlCol="1"/>
          <a:lstStyle>
            <a:lvl1pPr algn="r" rtl="1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1"/>
            <a:r>
              <a:rPr lang="pr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 rtlCol="1">
            <a:spAutoFit/>
          </a:bodyPr>
          <a:lstStyle>
            <a:lvl1pPr algn="r" rtl="1">
              <a:spcBef>
                <a:spcPts val="1800"/>
              </a:spcBef>
              <a:spcAft>
                <a:spcPts val="0"/>
              </a:spcAft>
              <a:defRPr sz="2000"/>
            </a:lvl1pPr>
            <a:lvl2pPr algn="r" rtl="1">
              <a:spcBef>
                <a:spcPts val="600"/>
              </a:spcBef>
              <a:spcAft>
                <a:spcPts val="0"/>
              </a:spcAft>
              <a:defRPr sz="2000"/>
            </a:lvl2pPr>
            <a:lvl3pPr algn="r" rtl="1">
              <a:defRPr sz="2000"/>
            </a:lvl3pPr>
            <a:lvl4pPr algn="r" rtl="1">
              <a:spcAft>
                <a:spcPts val="0"/>
              </a:spcAft>
              <a:defRPr sz="2000"/>
            </a:lvl4pPr>
            <a:lvl5pPr algn="r" rtl="1">
              <a:spcAft>
                <a:spcPts val="0"/>
              </a:spcAft>
              <a:defRPr sz="2000"/>
            </a:lvl5pPr>
          </a:lstStyle>
          <a:p>
            <a:pPr lvl="0" rtl="1"/>
            <a:r>
              <a:rPr lang="prs"/>
              <a:t>Click to edit Master text styles</a:t>
            </a:r>
          </a:p>
          <a:p>
            <a:pPr lvl="1" rtl="1"/>
            <a:r>
              <a:rPr lang="prs"/>
              <a:t>Second level</a:t>
            </a:r>
          </a:p>
          <a:p>
            <a:pPr lvl="2" rtl="1"/>
            <a:r>
              <a:rPr lang="prs"/>
              <a:t>Third level</a:t>
            </a:r>
          </a:p>
          <a:p>
            <a:pPr lvl="3" rtl="1"/>
            <a:r>
              <a:rPr lang="prs"/>
              <a:t>Fourth level</a:t>
            </a:r>
          </a:p>
          <a:p>
            <a:pPr lvl="4" rtl="1"/>
            <a:r>
              <a:rPr lang="prs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prs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5804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64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 rtlCol="1">
            <a:spAutoFit/>
          </a:bodyPr>
          <a:lstStyle>
            <a:lvl1pPr algn="r" rtl="1">
              <a:defRPr sz="1400">
                <a:solidFill>
                  <a:schemeClr val="bg1"/>
                </a:solidFill>
              </a:defRPr>
            </a:lvl1pPr>
          </a:lstStyle>
          <a:p>
            <a:pPr rtl="1"/>
            <a:r>
              <a:rPr lang="prs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algn="r" rtl="1"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rtl="1"/>
            <a:r>
              <a:rPr lang="prs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rtlCol="1" anchor="b" anchorCtr="0"/>
          <a:lstStyle>
            <a:lvl1pPr algn="r" rtl="1">
              <a:defRPr sz="3400" b="0" cap="none" baseline="0">
                <a:solidFill>
                  <a:schemeClr val="bg1"/>
                </a:solidFill>
              </a:defRPr>
            </a:lvl1pPr>
          </a:lstStyle>
          <a:p>
            <a:pPr rtl="1"/>
            <a:r>
              <a:rPr lang="prs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26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1812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1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b" anchorCtr="0" compatLnSpc="1">
            <a:prstTxWarp prst="textNoShape">
              <a:avLst/>
            </a:prstTxWarp>
            <a:spAutoFit/>
          </a:bodyPr>
          <a:lstStyle/>
          <a:p>
            <a:pPr lvl="0" rtl="1">
              <a:lnSpc>
                <a:spcPts val="2400"/>
              </a:lnSpc>
            </a:pPr>
            <a:r>
              <a:rPr lang="prs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ctr" rtl="1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>
              <a:defRPr/>
            </a:pPr>
            <a:fld id="{7F347C52-E49B-4AE3-9F3B-4526700C009D}" type="slidenum">
              <a:rPr lang="en-US" smtClean="0"/>
              <a:pPr rtl="1">
                <a:defRPr/>
              </a:pPr>
              <a:t>‹#›</a:t>
            </a:fld>
            <a:r>
              <a:rPr lang="prs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</a:bodyPr>
          <a:lstStyle/>
          <a:p>
            <a:pPr lvl="0" rtl="1"/>
            <a:r>
              <a:rPr lang="prs"/>
              <a:t>Click to edit Master text styles</a:t>
            </a:r>
          </a:p>
          <a:p>
            <a:pPr lvl="1" rtl="1"/>
            <a:r>
              <a:rPr lang="prs"/>
              <a:t>Second level</a:t>
            </a:r>
          </a:p>
          <a:p>
            <a:pPr lvl="2" rtl="1"/>
            <a:r>
              <a:rPr lang="prs"/>
              <a:t>Third level</a:t>
            </a:r>
          </a:p>
          <a:p>
            <a:pPr lvl="3" rtl="1"/>
            <a:r>
              <a:rPr lang="prs"/>
              <a:t>Fourth level</a:t>
            </a:r>
          </a:p>
          <a:p>
            <a:pPr lvl="4" rtl="1"/>
            <a:r>
              <a:rPr lang="prs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1" anchor="t" anchorCtr="0" compatLnSpc="1">
            <a:prstTxWarp prst="textNoShape">
              <a:avLst/>
            </a:prstTxWarp>
          </a:bodyPr>
          <a:lstStyle>
            <a:lvl1pPr algn="r" rtl="1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84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defTabSz="895255" rtl="1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r" defTabSz="895255" rtl="1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r" defTabSz="895255" rtl="1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Franklin Gothic Book" panose="020B0503020102020204" pitchFamily="34" charset="0"/>
          <a:ea typeface="+mn-ea"/>
          <a:cs typeface="Franklin Gothic Book" panose="020B0503020102020204" pitchFamily="34" charset="0"/>
        </a:defRPr>
      </a:lvl1pPr>
      <a:lvl2pPr marL="193655" indent="-192067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2pPr>
      <a:lvl3pPr marL="361950" indent="-180975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3pPr>
      <a:lvl4pPr marL="534988" indent="-173038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4pPr>
      <a:lvl5pPr marL="715963" indent="-180975" algn="r" defTabSz="895255" rtl="1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5pPr>
      <a:lvl6pPr marL="1203197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r" defTabSz="895255" rtl="1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r" defTabSz="914303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4.png"/><Relationship Id="rId5" Type="http://schemas.openxmlformats.org/officeDocument/2006/relationships/image" Target="../media/image3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9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4.jpeg"/><Relationship Id="rId7" Type="http://schemas.openxmlformats.org/officeDocument/2006/relationships/image" Target="../media/image47.png"/><Relationship Id="rId2" Type="http://schemas.openxmlformats.org/officeDocument/2006/relationships/hyperlink" Target="http://www.google.com/url?sa=i&amp;source=images&amp;cd=&amp;cad=rja&amp;docid=OWniMnMEPG6VMM&amp;tbnid=RFPNuKWempq37M:&amp;ved=0CAgQjRwwAA&amp;url=http://c91prao.wikispaces.com/Al-Mammar+Noor&amp;ei=BNpzUpTLG-K84ATyp4C4Bw&amp;psig=AFQjCNEJhZOOMky8Pid7kz9K_8xeHrRtCQ&amp;ust=1383410564480217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10" Type="http://schemas.openxmlformats.org/officeDocument/2006/relationships/image" Target="../media/image50.png"/><Relationship Id="rId4" Type="http://schemas.openxmlformats.org/officeDocument/2006/relationships/hyperlink" Target="http://www.google.com/url?sa=i&amp;rct=j&amp;q=&amp;esrc=s&amp;frm=1&amp;source=images&amp;cd=&amp;cad=rja&amp;docid=hxDc95ny-m85eM&amp;tbnid=l6qg_IV8nQcuLM:&amp;ved=0CAUQjRw&amp;url=http://testbb.kf.se/Butiker/Apotek-Hjartat/&amp;ei=6dpzUo6PGpKk4ATKtYHgDA&amp;psig=AFQjCNHJh40YOnd7at9VKjibeXgWYW7Fsw&amp;ust=1383410692989794" TargetMode="External"/><Relationship Id="rId9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11" Type="http://schemas.openxmlformats.org/officeDocument/2006/relationships/image" Target="../media/image15.pn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689098" y="4527512"/>
            <a:ext cx="5168901" cy="215444"/>
          </a:xfrm>
        </p:spPr>
        <p:txBody>
          <a:bodyPr rtlCol="1"/>
          <a:lstStyle/>
          <a:p>
            <a:pPr rtl="1"/>
            <a:r>
              <a:rPr lang="prs" dirty="0">
                <a:latin typeface="Franklin Gothic Book" panose="020B0503020102020204" pitchFamily="34" charset="0"/>
              </a:rPr>
              <a:t>معرفی سیستم مراقبت بهداشتی </a:t>
            </a:r>
            <a:r>
              <a:rPr lang="fa-IR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سویدن</a:t>
            </a:r>
            <a:endParaRPr lang="prs" dirty="0">
              <a:solidFill>
                <a:srgbClr val="FF000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 rtlCol="1"/>
          <a:lstStyle/>
          <a:p>
            <a:pPr rtl="1"/>
            <a:r>
              <a:rPr lang="prs"/>
              <a:t>مارس </a:t>
            </a:r>
            <a:r>
              <a:rPr lang="prs">
                <a:latin typeface="Franklin Gothic Book" panose="020B0503020102020204" pitchFamily="34" charset="0"/>
              </a:rPr>
              <a:t>2016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689098" y="3622291"/>
            <a:ext cx="5870467" cy="523220"/>
          </a:xfrm>
        </p:spPr>
        <p:txBody>
          <a:bodyPr rtlCol="1"/>
          <a:lstStyle/>
          <a:p>
            <a:pPr rtl="1"/>
            <a:r>
              <a:rPr lang="prs" dirty="0"/>
              <a:t>مراقبت بهداشتی برای پناهجویان  </a:t>
            </a:r>
            <a:endParaRPr lang="sv-SE" sz="2000" dirty="0"/>
          </a:p>
        </p:txBody>
      </p:sp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3942556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1" anchor="t" anchorCtr="0">
            <a:noAutofit/>
          </a:bodyPr>
          <a:lstStyle/>
          <a:p>
            <a:pPr rtl="1">
              <a:lnSpc>
                <a:spcPct val="115000"/>
              </a:lnSpc>
              <a:spcAft>
                <a:spcPts val="0"/>
              </a:spcAft>
            </a:pPr>
            <a:r>
              <a:rPr lang="prs" sz="1100" dirty="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prs" sz="1100" b="1" strike="noStrike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prs" sz="1100" dirty="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20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4730" y="416846"/>
            <a:ext cx="8356901" cy="385011"/>
          </a:xfrm>
        </p:spPr>
        <p:txBody>
          <a:bodyPr rtlCol="1"/>
          <a:lstStyle/>
          <a:p>
            <a:pPr rtl="1"/>
            <a:r>
              <a:rPr lang="prs" dirty="0"/>
              <a:t>دستور جلسه‌ ارائه امروز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قوانین کلی در مورد 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sv-SE" dirty="0">
              <a:solidFill>
                <a:srgbClr val="FF0000"/>
              </a:solidFill>
            </a:endParaRPr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حقوق پناهجویان در زمینه مراقبت بهداشتی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b="1" dirty="0"/>
              <a:t>چکاپ طبی</a:t>
            </a: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مراقبت از خود و خدمات اطلاعات 11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prs" dirty="0">
              <a:solidFill>
                <a:srgbClr val="FF0000"/>
              </a:solidFill>
            </a:endParaRPr>
          </a:p>
          <a:p>
            <a:pPr lvl="2" rtl="1"/>
            <a:r>
              <a:rPr lang="prs" dirty="0"/>
              <a:t>مراکز مراقبت بهداشتی محلی</a:t>
            </a:r>
          </a:p>
          <a:p>
            <a:pPr lvl="2" rtl="1"/>
            <a:r>
              <a:rPr lang="prs" dirty="0"/>
              <a:t>شفاخانه ها</a:t>
            </a:r>
          </a:p>
          <a:p>
            <a:pPr lvl="2" rtl="1"/>
            <a:r>
              <a:rPr lang="prs" dirty="0"/>
              <a:t>سایر خدمات (مثل خدمات دندان پزشکی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17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3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427756"/>
            <a:ext cx="8485163" cy="307777"/>
          </a:xfrm>
        </p:spPr>
        <p:txBody>
          <a:bodyPr rtlCol="1"/>
          <a:lstStyle/>
          <a:p>
            <a:pPr rtl="1"/>
            <a:r>
              <a:rPr lang="prs" dirty="0"/>
              <a:t>چکاپ طبی سرآغاز دسترسی به مراقبت های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r>
              <a:rPr lang="prs" dirty="0" smtClean="0"/>
              <a:t> </a:t>
            </a:r>
            <a:r>
              <a:rPr lang="prs" dirty="0"/>
              <a:t>است.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چکاپ طبی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رسیدن به </a:t>
            </a:r>
            <a:r>
              <a:rPr lang="fa-IR" sz="1800" kern="0" dirty="0" smtClean="0">
                <a:solidFill>
                  <a:srgbClr val="FF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endParaRPr lang="sv-SE" sz="1800" kern="0" dirty="0">
              <a:solidFill>
                <a:srgbClr val="FF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ماره تلیفون 1177- برای مشاوره در خصوص مراقبت از خو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کز مراقبت بهداشتی محلی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اصلی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فاخانه ها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ثانویه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5400000">
            <a:off x="711238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1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6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84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27"/>
          <p:cNvSpPr/>
          <p:nvPr/>
        </p:nvSpPr>
        <p:spPr>
          <a:xfrm>
            <a:off x="3135781" y="1503384"/>
            <a:ext cx="2700553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15991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2308" y="3818735"/>
            <a:ext cx="1020055" cy="498480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زمان و مکان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1255718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1"/>
          <a:lstStyle/>
          <a:p>
            <a:pPr rtl="1"/>
            <a:r>
              <a:rPr lang="prs"/>
              <a:t>وقتی نوبت شما شود نامه ای دریافت خواهید کرد،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prs"/>
              <a:t>و حتماً باید سر وقت و به موقع تشریف بیاورید.</a:t>
            </a:r>
            <a:endParaRPr lang="en-GB" dirty="0"/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09420" y="4583941"/>
            <a:ext cx="1041252" cy="258996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کارت LMA خود را بیاورید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15991" y="1164564"/>
            <a:ext cx="2369820" cy="256209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حله 1 - نامه دریافت کنید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3135783" y="1164564"/>
            <a:ext cx="2700552" cy="256209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حله 2 - چکاپ طبی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4425609" y="2079145"/>
            <a:ext cx="1270341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آزمایش خون و چکاپ بدنی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4425609" y="3387226"/>
            <a:ext cx="1270341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گفتگو با یک پرستار متخصص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4425609" y="4708683"/>
            <a:ext cx="1243671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بدون هزینه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324165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 rot="5400000">
            <a:off x="4455452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5992837" y="1155970"/>
            <a:ext cx="2873351" cy="264867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حله 3 - در صورت نیاز تماس بگیرید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7546104" y="1837787"/>
            <a:ext cx="1309688" cy="54975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رفتن به داکتر - تنها در صورت نیاز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 Placeholder 2"/>
          <p:cNvSpPr txBox="1">
            <a:spLocks/>
          </p:cNvSpPr>
          <p:nvPr/>
        </p:nvSpPr>
        <p:spPr>
          <a:xfrm>
            <a:off x="7329268" y="3162945"/>
            <a:ext cx="1526858" cy="818212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هیچ اطلاعاتی به </a:t>
            </a:r>
            <a:r>
              <a:rPr lang="sv-SE" sz="14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grations-        verket </a:t>
            </a:r>
            <a:r>
              <a:rPr lang="prs" sz="14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هاجران </a:t>
            </a:r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نرسیده است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7546104" y="4400735"/>
            <a:ext cx="1216896" cy="847037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4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کمک بیشتر بعد از دریافت اجازه اقامت</a:t>
            </a:r>
            <a:endParaRPr lang="sv-SE" sz="14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26000" y="1732228"/>
            <a:ext cx="1821709" cy="14894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701033" y="3692823"/>
            <a:ext cx="685029" cy="6809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601095" y="4560558"/>
            <a:ext cx="884716" cy="5810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225377" y="2080703"/>
            <a:ext cx="1124774" cy="5940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209648" y="3391715"/>
            <a:ext cx="1140503" cy="7230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451757" y="4504033"/>
            <a:ext cx="782378" cy="757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536564" y="3159839"/>
            <a:ext cx="828888" cy="67390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64307" y="1833036"/>
            <a:ext cx="973403" cy="7958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C7E2EE"/>
              </a:clrFrom>
              <a:clrTo>
                <a:srgbClr val="C7E2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47999" y="4373750"/>
            <a:ext cx="806018" cy="7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1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4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32562" y="1095703"/>
            <a:ext cx="7827667" cy="49433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427756"/>
            <a:ext cx="8374608" cy="307777"/>
          </a:xfrm>
        </p:spPr>
        <p:txBody>
          <a:bodyPr rtlCol="1"/>
          <a:lstStyle/>
          <a:p>
            <a:pPr rtl="1"/>
            <a:r>
              <a:rPr lang="prs" dirty="0"/>
              <a:t>چکاپ طبی رایگان است و بر فرآیند پناهجویی شما تأثیر ندارد - تنها برای </a:t>
            </a:r>
            <a:r>
              <a:rPr lang="fa-IR" dirty="0" smtClean="0">
                <a:solidFill>
                  <a:srgbClr val="FF0000"/>
                </a:solidFill>
              </a:rPr>
              <a:t>صحت</a:t>
            </a:r>
            <a:r>
              <a:rPr lang="prs" dirty="0" smtClean="0"/>
              <a:t> </a:t>
            </a:r>
            <a:r>
              <a:rPr lang="prs" dirty="0"/>
              <a:t>شماست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589649" y="1379818"/>
            <a:ext cx="6316393" cy="11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چکاپ های طبی رایگان و بدون هزینه هستند </a:t>
            </a:r>
          </a:p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وقتی نوبت شما شود نامه ای دریافت خواهید کرد </a:t>
            </a:r>
            <a:r>
              <a:rPr lang="en-US" sz="1500" kern="0" dirty="0" smtClean="0">
                <a:latin typeface="Franklin Gothic Book" panose="020B0503020102020204" pitchFamily="34" charset="0"/>
              </a:rPr>
              <a:t/>
            </a:r>
            <a:br>
              <a:rPr lang="en-US" sz="1500" kern="0" dirty="0" smtClean="0">
                <a:latin typeface="Franklin Gothic Book" panose="020B0503020102020204" pitchFamily="34" charset="0"/>
              </a:rPr>
            </a:br>
            <a:r>
              <a:rPr lang="prs" sz="1500" kern="0" dirty="0">
                <a:latin typeface="Franklin Gothic Book" panose="020B0503020102020204" pitchFamily="34" charset="0"/>
              </a:rPr>
              <a:t>(اطفال و خانواده ها در اولویت هستند)</a:t>
            </a:r>
          </a:p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باید سروقت و به موقع تشریف بیاورید - در غیر این صورت مترجم و جلسه ای نخواهید داشت</a:t>
            </a:r>
          </a:p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اگر امروز بیمار شدید، لطفاً با مرکز مراقبت های بهداشتی محلی خود تماس بگیرید</a:t>
            </a:r>
            <a:endParaRPr lang="sv-SE" sz="1500" kern="0" dirty="0">
              <a:latin typeface="Franklin Gothic Book" panose="020B050302010202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1719394" y="3021651"/>
            <a:ext cx="617979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پرستاران متخصص مسئول انجام چکاپ طبی هستند و گفتگویی درباره سوابق و نیازهای طبی شما خواهند داشت.</a:t>
            </a:r>
          </a:p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چکاپ شامل آزمایش خون هم می شود.</a:t>
            </a:r>
          </a:p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رفتن به داکتر تنها در صورت نیاز برای بررسی بیشتر مجاز است</a:t>
            </a:r>
            <a:endParaRPr lang="sv-SE" sz="1500" kern="0" dirty="0">
              <a:latin typeface="Franklin Gothic Book" panose="020B05030201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1719394" y="4305694"/>
            <a:ext cx="617979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prs" sz="1500" kern="0" dirty="0">
                <a:latin typeface="Franklin Gothic Book" panose="020B0503020102020204" pitchFamily="34" charset="0"/>
              </a:rPr>
              <a:t>اگر زبان </a:t>
            </a:r>
            <a:r>
              <a:rPr lang="fa-IR" sz="1500" kern="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سوید</a:t>
            </a:r>
            <a:r>
              <a:rPr lang="prs" sz="1500" kern="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ی </a:t>
            </a:r>
            <a:r>
              <a:rPr lang="prs" sz="1500" kern="0" dirty="0">
                <a:latin typeface="Franklin Gothic Book" panose="020B0503020102020204" pitchFamily="34" charset="0"/>
              </a:rPr>
              <a:t>بلد نیستید، حق دارید یک مترجم شفاهی داشته باشید، آنها نیز به سوگندنامه رازدارى‌ قسم خورده اند.</a:t>
            </a:r>
            <a:endParaRPr lang="sv-SE" sz="1500" kern="0" dirty="0">
              <a:latin typeface="Franklin Gothic Book" panose="020B0503020102020204" pitchFamily="34" charset="0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19394" y="5153404"/>
            <a:ext cx="617979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/>
            <a:r>
              <a:rPr lang="prs" sz="1500" dirty="0">
                <a:latin typeface="Franklin Gothic Book" panose="020B0503020102020204" pitchFamily="34" charset="0"/>
              </a:rPr>
              <a:t>آژانس مهاجرت </a:t>
            </a:r>
            <a:r>
              <a:rPr lang="fa-IR" sz="150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سویدن</a:t>
            </a:r>
            <a:r>
              <a:rPr lang="prs" sz="1500" dirty="0" smtClean="0">
                <a:latin typeface="Franklin Gothic Book" panose="020B0503020102020204" pitchFamily="34" charset="0"/>
              </a:rPr>
              <a:t> </a:t>
            </a:r>
            <a:r>
              <a:rPr lang="prs" sz="1500" dirty="0">
                <a:latin typeface="Franklin Gothic Book" panose="020B0503020102020204" pitchFamily="34" charset="0"/>
              </a:rPr>
              <a:t>نتایج چکاپ طبی را به کسی نخواهد داد. نتایج آزمایشهای بهداشتی بر فرصت ماندن شما در </a:t>
            </a:r>
            <a:r>
              <a:rPr lang="fa-IR" sz="150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سویدن</a:t>
            </a:r>
            <a:r>
              <a:rPr lang="prs" sz="1500" dirty="0" smtClean="0">
                <a:latin typeface="Franklin Gothic Book" panose="020B0503020102020204" pitchFamily="34" charset="0"/>
              </a:rPr>
              <a:t> </a:t>
            </a:r>
            <a:r>
              <a:rPr lang="prs" sz="1500" dirty="0">
                <a:latin typeface="Franklin Gothic Book" panose="020B0503020102020204" pitchFamily="34" charset="0"/>
              </a:rPr>
              <a:t>تأثیری ندارد.</a:t>
            </a:r>
            <a:endParaRPr lang="en-US" sz="1500" dirty="0">
              <a:latin typeface="Franklin Gothic Book" panose="020B05030201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8897" y="1655733"/>
            <a:ext cx="830856" cy="67931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620" y="3046478"/>
            <a:ext cx="1124774" cy="5940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755" y="4134100"/>
            <a:ext cx="1140503" cy="72308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2562" y="5153404"/>
            <a:ext cx="828888" cy="67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86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1"/>
          <a:lstStyle/>
          <a:p>
            <a:pPr rtl="1"/>
            <a:r>
              <a:rPr lang="prs"/>
              <a:t>اگر مشکلات طبی دارید 1177 توصیه های خودمراقبتی زیادی برای شما دارد - آنها میتوانند شما را راهنمایی کنند که به چه مراکزی بروید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39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2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چکاپ طبی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رسیدن به </a:t>
            </a:r>
            <a:r>
              <a:rPr lang="fa-IR" sz="1800" kern="0" dirty="0" smtClean="0">
                <a:solidFill>
                  <a:srgbClr val="FF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endParaRPr lang="sv-SE" sz="1800" kern="0" dirty="0">
              <a:solidFill>
                <a:srgbClr val="FF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ماره تلیفون 1177- برای مشاوره در خصوص مراقبت از خو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کز مراقبت بهداشتی محلی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اصلی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فاخانه ها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ثانویه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30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prs"/>
              <a:t>کانال های پرسش و پاسخ، اطلاعاتی و خودیاری 24 ساعته و 7 روز هفته با توصیه هایی ضروری در خدمت شما هستند</a:t>
            </a:r>
            <a:endParaRPr lang="sv-S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1"/>
          <a:lstStyle/>
          <a:p>
            <a:pPr rtl="1"/>
            <a:r>
              <a:rPr lang="prs"/>
              <a:t>1177.Se - ویب سایت اطلاعات مراقبت های بهداشتی را به زبان خودتان دارد</a:t>
            </a:r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8276" r="58712" b="12337"/>
          <a:stretch/>
        </p:blipFill>
        <p:spPr bwMode="auto">
          <a:xfrm>
            <a:off x="5012318" y="1593930"/>
            <a:ext cx="3773832" cy="3026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ubrik 1"/>
          <p:cNvSpPr txBox="1">
            <a:spLocks/>
          </p:cNvSpPr>
          <p:nvPr/>
        </p:nvSpPr>
        <p:spPr>
          <a:xfrm>
            <a:off x="4253394" y="2508231"/>
            <a:ext cx="5122106" cy="1456241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 smtClean="0">
                <a:latin typeface="Myriad Pro" pitchFamily="34" charset="0"/>
              </a:rPr>
              <a:t>www.1177.se</a:t>
            </a:r>
            <a:endParaRPr lang="en-US" sz="5400" dirty="0">
              <a:latin typeface="Myriad Pro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234175" y="1688812"/>
            <a:ext cx="4398681" cy="326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/>
            <a:r>
              <a:rPr lang="prs" sz="16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تلیفون 1177 </a:t>
            </a:r>
          </a:p>
          <a:p>
            <a:pPr lvl="2" rtl="1"/>
            <a:r>
              <a:rPr lang="pr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 ساعته در طول روز</a:t>
            </a:r>
          </a:p>
          <a:p>
            <a:pPr lvl="2" rtl="1"/>
            <a:r>
              <a:rPr lang="pr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برای کسب اطلاعات کلینیک ها و توصیه های مراقبت های بهداشتی، برای برقراری تماس در مورد نیازهای خاص خودتان</a:t>
            </a:r>
          </a:p>
          <a:p>
            <a:pPr lvl="2" rtl="1"/>
            <a:r>
              <a:rPr lang="pr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پرستاران به زبان </a:t>
            </a:r>
            <a:r>
              <a:rPr lang="fa-IR" sz="1600" kern="0" dirty="0" smtClean="0">
                <a:solidFill>
                  <a:srgbClr val="FF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r>
              <a:rPr lang="prs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ی </a:t>
            </a:r>
            <a:r>
              <a:rPr lang="pr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و انگلیسی صحبت میکنند</a:t>
            </a:r>
            <a:endParaRPr lang="en-US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en-US" sz="1600" b="1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prs" sz="16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ویب سایت </a:t>
            </a:r>
            <a:r>
              <a:rPr lang="en-US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1177.se</a:t>
            </a:r>
            <a:endParaRPr lang="prs" sz="16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2" rtl="1"/>
            <a:r>
              <a:rPr lang="pr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توصیه در مورد بیماری ها و مرض ها و اطلاعاتی در مورد سیستم مراقبت بهداشتی </a:t>
            </a:r>
            <a:r>
              <a:rPr lang="fa-IR" sz="1600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endParaRPr lang="prs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2" rtl="1"/>
            <a:r>
              <a:rPr lang="prs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ما میتوانید در بخش "زبان های دیگر" این توصیه ها را به زبان های دیگر مطالعه کنید</a:t>
            </a:r>
            <a:endParaRPr lang="sv-SE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02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427756"/>
            <a:ext cx="8485163" cy="307777"/>
          </a:xfrm>
        </p:spPr>
        <p:txBody>
          <a:bodyPr rtlCol="1"/>
          <a:lstStyle/>
          <a:p>
            <a:pPr rtl="1"/>
            <a:r>
              <a:rPr lang="prs"/>
              <a:t>مراکز مراقبت های بهداشتی محلی اولین محل برای گرفتن کمک است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0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3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چکاپ طبی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رسیدن به </a:t>
            </a:r>
            <a:r>
              <a:rPr lang="fa-IR" sz="1800" kern="0" dirty="0" smtClean="0">
                <a:solidFill>
                  <a:srgbClr val="FF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endParaRPr lang="sv-SE" sz="1800" kern="0" dirty="0">
              <a:solidFill>
                <a:srgbClr val="FF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ماره تلیفون 1177- برای مشاوره در خصوص مراقبت از خو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کز مراقبت بهداشتی محلی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اصلی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فاخانه ها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ثانویه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35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27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32562" y="1175657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6126"/>
            <a:ext cx="8432710" cy="615553"/>
          </a:xfrm>
        </p:spPr>
        <p:txBody>
          <a:bodyPr rtlCol="1"/>
          <a:lstStyle/>
          <a:p>
            <a:pPr rtl="1"/>
            <a:r>
              <a:rPr lang="prs"/>
              <a:t>مرکز مراقبت بهداشتی محلی - 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prs"/>
              <a:t>انتخاب اصلی در صورت نیاز به کمک طبی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16022" y="1392701"/>
            <a:ext cx="5321210" cy="4570482"/>
          </a:xfrm>
        </p:spPr>
        <p:txBody>
          <a:bodyPr rtlCol="1"/>
          <a:lstStyle/>
          <a:p>
            <a:pPr lvl="1" rtl="1"/>
            <a:r>
              <a:rPr lang="prs" sz="1800" dirty="0">
                <a:ea typeface="Verdana" panose="020B0604030504040204" pitchFamily="34" charset="0"/>
                <a:cs typeface="Verdana" panose="020B0604030504040204" pitchFamily="34" charset="0"/>
              </a:rPr>
              <a:t>مرکز مراقبت بهداشتی محلی، در صورت نیاز به کمک طبی انتخاب اصلی است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prs" sz="1800" dirty="0">
                <a:ea typeface="Verdana" panose="020B0604030504040204" pitchFamily="34" charset="0"/>
                <a:cs typeface="Verdana" panose="020B0604030504040204" pitchFamily="34" charset="0"/>
              </a:rPr>
              <a:t>اگر زبان </a:t>
            </a:r>
            <a:r>
              <a:rPr lang="fa-IR" sz="1800" dirty="0" smtClean="0">
                <a:solidFill>
                  <a:srgbClr val="FF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سوید</a:t>
            </a:r>
            <a:r>
              <a:rPr lang="prs" sz="1800" dirty="0" smtClean="0">
                <a:solidFill>
                  <a:srgbClr val="FF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ی </a:t>
            </a:r>
            <a:r>
              <a:rPr lang="prs" sz="1800" dirty="0">
                <a:ea typeface="Verdana" panose="020B0604030504040204" pitchFamily="34" charset="0"/>
                <a:cs typeface="Verdana" panose="020B0604030504040204" pitchFamily="34" charset="0"/>
              </a:rPr>
              <a:t>بلد نیستید باید یک مترجم شفاهی داشته باشید (که او هم باید به سوگندنامه رازدارى‌ قسم خورده باشد).</a:t>
            </a:r>
          </a:p>
          <a:p>
            <a:pPr lvl="1" rtl="1"/>
            <a:endParaRPr lang="sv-SE" sz="1800" dirty="0" smtClean="0">
              <a:solidFill>
                <a:srgbClr val="FF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prs" sz="1800" dirty="0">
                <a:ea typeface="Verdana" panose="020B0604030504040204" pitchFamily="34" charset="0"/>
                <a:cs typeface="Verdana" panose="020B0604030504040204" pitchFamily="34" charset="0"/>
              </a:rPr>
              <a:t>برای تعیین وقت ملاقات با مرکز مراقبت بهداشتی محلی تماس بگیرید - برخی کلینیک ها بدون‌ وقت قبلى بیمار میپذیرند.‌</a:t>
            </a:r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prs" sz="1800" dirty="0">
                <a:ea typeface="Verdana" panose="020B0604030504040204" pitchFamily="34" charset="0"/>
                <a:cs typeface="Verdana" panose="020B0604030504040204" pitchFamily="34" charset="0"/>
              </a:rPr>
              <a:t>باید سروقت بیاید و هرگز تأخیر نداشته باشید </a:t>
            </a: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1"/>
            <a:r>
              <a:rPr lang="prs" sz="1800" dirty="0">
                <a:ea typeface="Verdana" panose="020B0604030504040204" pitchFamily="34" charset="0"/>
                <a:cs typeface="Verdana" panose="020B0604030504040204" pitchFamily="34" charset="0"/>
              </a:rPr>
              <a:t>کارت LMA خود را با خود بیاورید </a:t>
            </a:r>
          </a:p>
          <a:p>
            <a:pPr lvl="1" rtl="1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0274" y="3730964"/>
            <a:ext cx="608648" cy="5968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7917" y="1252192"/>
            <a:ext cx="873363" cy="937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852" y="2623633"/>
            <a:ext cx="1153492" cy="7429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92112" y="4555796"/>
            <a:ext cx="584973" cy="58147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8113" y="5423054"/>
            <a:ext cx="772971" cy="50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85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prs"/>
              <a:t>اطلاعاتی در مورد مرکز مراقبت های بهداشتی محلی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9" name="Platshållare för innehåll 2"/>
          <p:cNvSpPr txBox="1">
            <a:spLocks/>
          </p:cNvSpPr>
          <p:nvPr/>
        </p:nvSpPr>
        <p:spPr>
          <a:xfrm>
            <a:off x="3536725" y="2090406"/>
            <a:ext cx="5012169" cy="2375296"/>
          </a:xfrm>
          <a:prstGeom prst="rect">
            <a:avLst/>
          </a:prstGeom>
        </p:spPr>
        <p:txBody>
          <a:bodyPr rtlCol="1">
            <a:noAutofit/>
          </a:bodyPr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2000" b="1" kern="0">
                <a:latin typeface="Franklin Gothic Book" panose="020B0503020102020204" pitchFamily="34" charset="0"/>
              </a:rPr>
              <a:t>نام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2000" kern="0">
                <a:latin typeface="Franklin Gothic Book" panose="020B0503020102020204" pitchFamily="34" charset="0"/>
              </a:rPr>
              <a:t>[Lägg till namn på Vårdcentralen]</a:t>
            </a:r>
          </a:p>
          <a:p>
            <a:pPr rtl="1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2000" b="1" kern="0">
                <a:latin typeface="Franklin Gothic Book" panose="020B0503020102020204" pitchFamily="34" charset="0"/>
              </a:rPr>
              <a:t>آدرس</a:t>
            </a:r>
          </a:p>
          <a:p>
            <a:pPr rtl="1"/>
            <a:r>
              <a:rPr lang="prs" sz="2000" kern="0">
                <a:latin typeface="Franklin Gothic Book" panose="020B0503020102020204" pitchFamily="34" charset="0"/>
              </a:rPr>
              <a:t>[Lägg till adress här]</a:t>
            </a:r>
          </a:p>
          <a:p>
            <a:pPr rtl="1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2000" b="1" kern="0">
                <a:latin typeface="Franklin Gothic Book" panose="020B0503020102020204" pitchFamily="34" charset="0"/>
              </a:rPr>
              <a:t>تلیفون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1800" kern="0">
                <a:latin typeface="Franklin Gothic Book" panose="020B0503020102020204" pitchFamily="34" charset="0"/>
              </a:rPr>
              <a:t>[Lägg till telefonnummer]</a:t>
            </a:r>
          </a:p>
          <a:p>
            <a:pPr rtl="1"/>
            <a:r>
              <a:rPr lang="prs" sz="1800" kern="0">
                <a:latin typeface="Franklin Gothic Book" panose="020B0503020102020204" pitchFamily="34" charset="0"/>
              </a:rPr>
              <a:t>[Lägg till öppettider för telefon]</a:t>
            </a:r>
            <a:endParaRPr lang="sv-SE" sz="1800" u="sng" kern="0" dirty="0" smtClean="0">
              <a:latin typeface="Franklin Gothic Book" panose="020B0503020102020204" pitchFamily="34" charset="0"/>
            </a:endParaRPr>
          </a:p>
          <a:p>
            <a:pPr marL="457200" lvl="1" indent="0" rtl="1">
              <a:buFontTx/>
              <a:buNone/>
            </a:pPr>
            <a:endParaRPr lang="sv-SE" sz="1800" kern="0" dirty="0" smtClean="0"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665774" y="1910678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759082" y="1672913"/>
            <a:ext cx="2789812" cy="282845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kern="0">
                <a:solidFill>
                  <a:srgbClr val="000000"/>
                </a:solidFill>
                <a:latin typeface="Calibri" panose="020F0502020204030204" pitchFamily="34" charset="0"/>
              </a:rPr>
              <a:t>LÄGG IN LOKAL INFORMATION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/>
          <a:srcRect t="19569" b="4649"/>
          <a:stretch/>
        </p:blipFill>
        <p:spPr>
          <a:xfrm>
            <a:off x="293361" y="2377440"/>
            <a:ext cx="3243364" cy="244258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665774" y="1672913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1"/>
          <a:lstStyle/>
          <a:p>
            <a:pPr rtl="1"/>
            <a:r>
              <a:rPr lang="prs"/>
              <a:t>شفاخانه ها - </a:t>
            </a:r>
            <a:r>
              <a:rPr lang="sv-SE" dirty="0"/>
              <a:t/>
            </a:r>
            <a:br>
              <a:rPr lang="sv-SE" dirty="0"/>
            </a:br>
            <a:r>
              <a:rPr lang="prs"/>
              <a:t>برای کسب اطلاعات در مورد شرایط و مراقبت های بستری که به تخصص های جانبی نیاز دارد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algn="ctr" rtl="1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1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4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چکاپ طبی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716029" y="1100671"/>
            <a:ext cx="1747320" cy="350033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رسیدن به </a:t>
            </a:r>
            <a:r>
              <a:rPr lang="fa-IR" sz="1800" kern="0" dirty="0" smtClean="0">
                <a:solidFill>
                  <a:srgbClr val="FF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endParaRPr lang="sv-SE" sz="1800" kern="0" dirty="0">
              <a:solidFill>
                <a:srgbClr val="FF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ماره تلیفون 1177- برای مشاوره در خصوص مراقبت از خود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کز مراقبت بهداشتی محلی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اصلی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1" anchor="ctr" anchorCtr="0"/>
          <a:lstStyle>
            <a:lvl1pPr marL="0" indent="0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شفاخانه ها</a:t>
            </a:r>
          </a:p>
          <a:p>
            <a:pPr algn="ctr" rtl="1"/>
            <a:r>
              <a:rPr lang="prs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مراقبت ثانویه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9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prs"/>
              <a:t>هدف ارائه و مطالب امروز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730" y="1935861"/>
            <a:ext cx="5008790" cy="3308598"/>
          </a:xfrm>
        </p:spPr>
        <p:txBody>
          <a:bodyPr rtlCol="1"/>
          <a:lstStyle/>
          <a:p>
            <a:pPr lvl="1" rtl="1"/>
            <a:r>
              <a:rPr lang="prs" dirty="0"/>
              <a:t>معرفی 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sv-SE" dirty="0" smtClean="0">
              <a:solidFill>
                <a:srgbClr val="FF0000"/>
              </a:solidFill>
            </a:endParaRPr>
          </a:p>
          <a:p>
            <a:pPr lvl="1" rtl="1"/>
            <a:endParaRPr lang="sv-SE" dirty="0"/>
          </a:p>
          <a:p>
            <a:pPr lvl="1" rtl="1"/>
            <a:r>
              <a:rPr lang="prs" dirty="0"/>
              <a:t>اطلاع از حقوق پناهجویان در مسئله مراقبت بهداشتی</a:t>
            </a:r>
            <a:endParaRPr lang="sv-SE" dirty="0" smtClean="0"/>
          </a:p>
          <a:p>
            <a:pPr lvl="1" rtl="1"/>
            <a:endParaRPr lang="sv-SE" dirty="0"/>
          </a:p>
          <a:p>
            <a:pPr lvl="1" rtl="1"/>
            <a:r>
              <a:rPr lang="prs" dirty="0"/>
              <a:t>دعوت به شرکت در چکاپ طبی</a:t>
            </a:r>
            <a:endParaRPr lang="sv-SE" dirty="0" smtClean="0"/>
          </a:p>
          <a:p>
            <a:pPr lvl="1" rtl="1"/>
            <a:endParaRPr lang="sv-SE" dirty="0"/>
          </a:p>
          <a:p>
            <a:pPr lvl="1" rtl="1"/>
            <a:endParaRPr lang="sv-SE" dirty="0" smtClean="0"/>
          </a:p>
          <a:p>
            <a:pPr lvl="1" rtl="1"/>
            <a:r>
              <a:rPr lang="prs" i="1" dirty="0"/>
              <a:t>امروز سؤالات شخصی یا مشاوره در مورد مشکلات طبی </a:t>
            </a:r>
            <a:r>
              <a:rPr lang="prs" i="1" u="sng" dirty="0"/>
              <a:t>مجاز نخواهد بود</a:t>
            </a:r>
            <a:endParaRPr lang="sv-SE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874"/>
          <a:stretch/>
        </p:blipFill>
        <p:spPr>
          <a:xfrm>
            <a:off x="5184648" y="1935861"/>
            <a:ext cx="3282341" cy="271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6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4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02082" y="1159992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323557"/>
            <a:ext cx="8244359" cy="576775"/>
          </a:xfrm>
        </p:spPr>
        <p:txBody>
          <a:bodyPr rtlCol="1"/>
          <a:lstStyle/>
          <a:p>
            <a:pPr rtl="1"/>
            <a:r>
              <a:rPr lang="prs" spc="-30" dirty="0"/>
              <a:t>شفاخانه ها - </a:t>
            </a:r>
            <a:r>
              <a:rPr lang="sv-SE" spc="-30" dirty="0" smtClean="0"/>
              <a:t/>
            </a:r>
            <a:br>
              <a:rPr lang="sv-SE" spc="-30" dirty="0" smtClean="0"/>
            </a:br>
            <a:r>
              <a:rPr lang="prs" spc="-30" dirty="0"/>
              <a:t>برای کسب اطلاعات در مورد شرایط و مراقبت های بستری که به تخصص های جانبی نیاز دارد</a:t>
            </a:r>
            <a:endParaRPr lang="sv-SE" spc="-3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61615" y="1650471"/>
            <a:ext cx="5558496" cy="4724370"/>
          </a:xfrm>
        </p:spPr>
        <p:txBody>
          <a:bodyPr rtlCol="1"/>
          <a:lstStyle/>
          <a:p>
            <a:pPr lvl="1" rtl="1"/>
            <a:r>
              <a:rPr lang="prs" dirty="0"/>
              <a:t>اگر یک بیماری شدید یا جراحت حاد دارید، لطفاً به کلینیک عاجل در شفاخانه بروید</a:t>
            </a:r>
          </a:p>
          <a:p>
            <a:pPr lvl="1" rtl="1"/>
            <a:endParaRPr lang="en-US" sz="1400" dirty="0"/>
          </a:p>
          <a:p>
            <a:pPr lvl="1" rtl="1"/>
            <a:r>
              <a:rPr lang="prs" dirty="0"/>
              <a:t>اگر به کمک عاجل نیاز ندارید، ممکن است مدت انتظار طولانی شود، </a:t>
            </a:r>
            <a:r>
              <a:rPr lang="prs" dirty="0" smtClean="0"/>
              <a:t>و </a:t>
            </a:r>
            <a:r>
              <a:rPr lang="prs" dirty="0"/>
              <a:t>تا 8 ساعت طول بکشد</a:t>
            </a:r>
            <a:endParaRPr lang="en-US" dirty="0" smtClean="0"/>
          </a:p>
          <a:p>
            <a:pPr lvl="1" rtl="1"/>
            <a:endParaRPr lang="en-US" sz="1400" dirty="0"/>
          </a:p>
          <a:p>
            <a:pPr lvl="1" rtl="1"/>
            <a:r>
              <a:rPr lang="prs" dirty="0"/>
              <a:t>بازدیدهای شفاخانه چندین برابر بازدیدهای مرکز مراقبت بهداشتی محلی هزینه دارد</a:t>
            </a:r>
          </a:p>
          <a:p>
            <a:pPr lvl="1" rtl="1"/>
            <a:endParaRPr lang="en-US" sz="1400" dirty="0" smtClean="0"/>
          </a:p>
          <a:p>
            <a:pPr lvl="1" rtl="1"/>
            <a:r>
              <a:rPr lang="prs" dirty="0"/>
              <a:t>در یک موقعیت عاجل و خطرناک - </a:t>
            </a:r>
            <a:r>
              <a:rPr lang="prs" b="1" dirty="0"/>
              <a:t>لطفاً با 112 تماس بگیرید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prs" b="1" dirty="0"/>
              <a:t>پولیس، اطفاییه و آمبولانس</a:t>
            </a:r>
          </a:p>
          <a:p>
            <a:pPr lvl="1" rtl="1"/>
            <a:r>
              <a:rPr lang="prs" dirty="0"/>
              <a:t>آمبولانس های </a:t>
            </a:r>
            <a:r>
              <a:rPr lang="fa-IR" dirty="0" smtClean="0">
                <a:solidFill>
                  <a:srgbClr val="FF0000"/>
                </a:solidFill>
              </a:rPr>
              <a:t>سوید</a:t>
            </a:r>
            <a:r>
              <a:rPr lang="prs" dirty="0" smtClean="0">
                <a:solidFill>
                  <a:srgbClr val="FF0000"/>
                </a:solidFill>
              </a:rPr>
              <a:t>ی </a:t>
            </a:r>
            <a:r>
              <a:rPr lang="prs" dirty="0"/>
              <a:t>واحدهای طبی پیشرفته ای هستند</a:t>
            </a:r>
          </a:p>
          <a:p>
            <a:pPr lvl="1" rtl="1"/>
            <a:endParaRPr lang="en-US" b="1" dirty="0" smtClean="0"/>
          </a:p>
          <a:p>
            <a:pPr lvl="1" rtl="1"/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182" y="1410651"/>
            <a:ext cx="1007788" cy="10056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2219" y="2721126"/>
            <a:ext cx="857715" cy="874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9585" y="4941263"/>
            <a:ext cx="862983" cy="7490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3403" y="3900817"/>
            <a:ext cx="755347" cy="735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5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prs"/>
              <a:t>هزینه خدمات مراقبت های بهداشتی را تنها بزرگسالان بدون طفل و در طول فرآیند پناهجویی باید پرداخت کنند.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r>
              <a:rPr lang="prs"/>
              <a:t>هزینه مراقبت های بهداشتی</a:t>
            </a:r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r>
              <a:rPr lang="prs"/>
              <a:t>	*	هزینه آمبولانس/ بازدیدهای ER ممکن است بر اساس تصمیمات مسئولان منطقه ای متفاوت باشد	</a:t>
            </a:r>
            <a:endParaRPr lang="sv-SE" dirty="0"/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2672253" y="1623681"/>
            <a:ext cx="5954360" cy="2321410"/>
          </a:xfrm>
          <a:prstGeom prst="rect">
            <a:avLst/>
          </a:prstGeom>
        </p:spPr>
        <p:txBody>
          <a:bodyPr vert="horz" lIns="91440" tIns="45720" rIns="91440" bIns="45720" rtlCol="1">
            <a:noAutofit/>
          </a:bodyPr>
          <a:lstStyle>
            <a:lvl1pPr marL="342900" indent="-3429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/>
            <a:r>
              <a:rPr lang="prs" sz="1600" dirty="0" smtClean="0">
                <a:latin typeface="Franklin Gothic Book" panose="020B0503020102020204" pitchFamily="34" charset="0"/>
              </a:rPr>
              <a:t>اطفال (کمتر از 18 سال): 	رایگان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1600" dirty="0">
                <a:latin typeface="Franklin Gothic Book" panose="020B0503020102020204" pitchFamily="34" charset="0"/>
              </a:rPr>
              <a:t>مرکز مراقبت های بهداشتی برای بزرگسالان:	داکتر	50 کرون</a:t>
            </a:r>
          </a:p>
          <a:p>
            <a:pPr marL="0" indent="0" rtl="1">
              <a:buNone/>
            </a:pPr>
            <a:r>
              <a:rPr lang="prs" sz="2000" dirty="0">
                <a:latin typeface="Franklin Gothic Book" panose="020B0503020102020204" pitchFamily="34" charset="0"/>
              </a:rPr>
              <a:t>				</a:t>
            </a:r>
            <a:r>
              <a:rPr lang="prs" sz="1600" dirty="0">
                <a:latin typeface="Franklin Gothic Book" panose="020B0503020102020204" pitchFamily="34" charset="0"/>
              </a:rPr>
              <a:t>پرستار	25 کرون</a:t>
            </a:r>
          </a:p>
          <a:p>
            <a:pPr rtl="1"/>
            <a:endParaRPr lang="sv-SE" sz="160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1600" dirty="0">
                <a:latin typeface="Franklin Gothic Book" panose="020B0503020102020204" pitchFamily="34" charset="0"/>
              </a:rPr>
              <a:t>شفاخانه/آمبولانس*		</a:t>
            </a:r>
            <a:r>
              <a:rPr lang="sv-SE" sz="1600" dirty="0" smtClean="0">
                <a:latin typeface="Franklin Gothic Book" panose="020B0503020102020204" pitchFamily="34" charset="0"/>
              </a:rPr>
              <a:t>	</a:t>
            </a:r>
            <a:r>
              <a:rPr lang="prs" sz="1600" dirty="0" smtClean="0">
                <a:latin typeface="Franklin Gothic Book" panose="020B0503020102020204" pitchFamily="34" charset="0"/>
              </a:rPr>
              <a:t>بازدید</a:t>
            </a:r>
            <a:r>
              <a:rPr lang="prs" sz="1600" dirty="0">
                <a:latin typeface="Franklin Gothic Book" panose="020B0503020102020204" pitchFamily="34" charset="0"/>
              </a:rPr>
              <a:t>	200 کرون</a:t>
            </a:r>
            <a:endParaRPr lang="sv-SE" sz="1600" dirty="0">
              <a:latin typeface="Franklin Gothic Book" panose="020B0503020102020204" pitchFamily="34" charset="0"/>
            </a:endParaRPr>
          </a:p>
          <a:p>
            <a:pPr rtl="1"/>
            <a:endParaRPr lang="sv-SE" sz="1600" dirty="0" smtClean="0">
              <a:latin typeface="Franklin Gothic Book" panose="020B0503020102020204" pitchFamily="34" charset="0"/>
            </a:endParaRPr>
          </a:p>
          <a:p>
            <a:pPr rtl="1"/>
            <a:endParaRPr lang="sv-SE" sz="160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1600" dirty="0">
                <a:latin typeface="Franklin Gothic Book" panose="020B0503020102020204" pitchFamily="34" charset="0"/>
              </a:rPr>
              <a:t>مراقبت از زنان باردار	</a:t>
            </a:r>
            <a:r>
              <a:rPr lang="sv-SE" sz="1600" dirty="0" smtClean="0">
                <a:latin typeface="Franklin Gothic Book" panose="020B0503020102020204" pitchFamily="34" charset="0"/>
              </a:rPr>
              <a:t>	</a:t>
            </a:r>
            <a:r>
              <a:rPr lang="prs" sz="1600" dirty="0" smtClean="0">
                <a:latin typeface="Franklin Gothic Book" panose="020B0503020102020204" pitchFamily="34" charset="0"/>
              </a:rPr>
              <a:t>رایگان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1600" dirty="0">
                <a:latin typeface="Franklin Gothic Book" panose="020B0503020102020204" pitchFamily="34" charset="0"/>
              </a:rPr>
              <a:t>مشاوره، سقط جنین		</a:t>
            </a:r>
            <a:r>
              <a:rPr lang="sv-SE" sz="1600" dirty="0" smtClean="0">
                <a:latin typeface="Franklin Gothic Book" panose="020B0503020102020204" pitchFamily="34" charset="0"/>
              </a:rPr>
              <a:t>	</a:t>
            </a:r>
            <a:r>
              <a:rPr lang="prs" sz="1600" dirty="0" smtClean="0">
                <a:latin typeface="Franklin Gothic Book" panose="020B0503020102020204" pitchFamily="34" charset="0"/>
              </a:rPr>
              <a:t>رایگان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rtl="1"/>
            <a:r>
              <a:rPr lang="prs" sz="1600" dirty="0">
                <a:latin typeface="Franklin Gothic Book" panose="020B0503020102020204" pitchFamily="34" charset="0"/>
              </a:rPr>
              <a:t>تولد طفل		</a:t>
            </a:r>
            <a:r>
              <a:rPr lang="sv-SE" sz="1600" dirty="0" smtClean="0">
                <a:latin typeface="Franklin Gothic Book" panose="020B0503020102020204" pitchFamily="34" charset="0"/>
              </a:rPr>
              <a:t>	</a:t>
            </a:r>
            <a:r>
              <a:rPr lang="prs" sz="1600" dirty="0" smtClean="0">
                <a:latin typeface="Franklin Gothic Book" panose="020B0503020102020204" pitchFamily="34" charset="0"/>
              </a:rPr>
              <a:t>رایگان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marL="457200" lvl="1" indent="0" rtl="1">
              <a:buFont typeface="Arial" panose="020B0604020202020204" pitchFamily="34" charset="0"/>
              <a:buNone/>
            </a:pPr>
            <a:endParaRPr lang="sv-SE" sz="1800" dirty="0" smtClean="0">
              <a:latin typeface="Franklin Gothic Book" panose="020B0503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3694" y="2211186"/>
            <a:ext cx="2310939" cy="225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8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prs"/>
              <a:t>دستور جلسه‌ ارائه امروز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قوانین کلی در مورد 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sv-SE" dirty="0">
              <a:solidFill>
                <a:srgbClr val="FF0000"/>
              </a:solidFill>
            </a:endParaRPr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حقوق پناهجویان در زمینه مراقبت بهداشتی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چکاپ طبی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مراقبت از خود و خدمات اطلاعات 11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b="1" dirty="0"/>
              <a:t>سیستم مراقبت بهداشتی </a:t>
            </a:r>
            <a:r>
              <a:rPr lang="fa-IR" b="1" dirty="0" smtClean="0">
                <a:solidFill>
                  <a:srgbClr val="FF0000"/>
                </a:solidFill>
              </a:rPr>
              <a:t>سویدن</a:t>
            </a:r>
            <a:endParaRPr lang="prs" b="1" dirty="0">
              <a:solidFill>
                <a:srgbClr val="FF0000"/>
              </a:solidFill>
            </a:endParaRPr>
          </a:p>
          <a:p>
            <a:pPr lvl="2" rtl="1"/>
            <a:r>
              <a:rPr lang="prs" dirty="0"/>
              <a:t>مراکز مراقبت بهداشتی محلی</a:t>
            </a:r>
          </a:p>
          <a:p>
            <a:pPr lvl="2" rtl="1"/>
            <a:r>
              <a:rPr lang="prs" dirty="0"/>
              <a:t>شفاخانه ها</a:t>
            </a:r>
          </a:p>
          <a:p>
            <a:pPr lvl="2" rtl="1"/>
            <a:r>
              <a:rPr lang="prs" b="1" dirty="0"/>
              <a:t>سایر خدمات (مثل خدمات دندان پزشکی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8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41270" cy="615553"/>
          </a:xfrm>
        </p:spPr>
        <p:txBody>
          <a:bodyPr rtlCol="1"/>
          <a:lstStyle/>
          <a:p>
            <a:pPr rtl="1"/>
            <a:r>
              <a:rPr lang="prs"/>
              <a:t>سایر خدمات ضروری مثل دندانپزشکی و داروها نیز موجود است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40090" y="1240457"/>
            <a:ext cx="5956796" cy="1384995"/>
          </a:xfrm>
        </p:spPr>
        <p:txBody>
          <a:bodyPr rtlCol="1"/>
          <a:lstStyle/>
          <a:p>
            <a:pPr rtl="1"/>
            <a:r>
              <a:rPr lang="prs" b="1" dirty="0"/>
              <a:t>خدمات دندانپزشکی</a:t>
            </a:r>
          </a:p>
          <a:p>
            <a:pPr lvl="1" rtl="1"/>
            <a:r>
              <a:rPr lang="prs" dirty="0"/>
              <a:t>برای اطفال زیر 18 سال رایگان است</a:t>
            </a:r>
          </a:p>
          <a:p>
            <a:pPr lvl="1" rtl="1"/>
            <a:r>
              <a:rPr lang="prs" dirty="0"/>
              <a:t>بزرگسالانی که نیاز عاجل دارند حق دارند صبر نکنند، مثل آسیب های شدید روحی و شکستن دندان</a:t>
            </a:r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40090" y="2642276"/>
            <a:ext cx="5928661" cy="207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b="1" kern="0" dirty="0">
                <a:latin typeface="Franklin Gothic Book" panose="020B0503020102020204" pitchFamily="34" charset="0"/>
              </a:rPr>
              <a:t>داروخانه‌</a:t>
            </a:r>
          </a:p>
          <a:p>
            <a:pPr lvl="1" rtl="1"/>
            <a:r>
              <a:rPr lang="prs" kern="0" dirty="0">
                <a:latin typeface="Franklin Gothic Book" panose="020B0503020102020204" pitchFamily="34" charset="0"/>
              </a:rPr>
              <a:t>دارو و سایر محصولات طبی عرضه میکند</a:t>
            </a:r>
          </a:p>
          <a:p>
            <a:pPr lvl="1" rtl="1"/>
            <a:r>
              <a:rPr lang="prs" kern="0" dirty="0">
                <a:latin typeface="Franklin Gothic Book" panose="020B0503020102020204" pitchFamily="34" charset="0"/>
              </a:rPr>
              <a:t>پول داروهای تجویزی داکترها باید پرداخت و جمع آوری شود</a:t>
            </a:r>
          </a:p>
          <a:p>
            <a:pPr lvl="2" rtl="1"/>
            <a:r>
              <a:rPr lang="prs" kern="0" dirty="0">
                <a:latin typeface="Franklin Gothic Book" panose="020B0503020102020204" pitchFamily="34" charset="0"/>
              </a:rPr>
              <a:t>داروهای تجویزشده	</a:t>
            </a:r>
            <a:r>
              <a:rPr lang="prs" kern="0" dirty="0" smtClean="0">
                <a:latin typeface="Franklin Gothic Book" panose="020B0503020102020204" pitchFamily="34" charset="0"/>
              </a:rPr>
              <a:t>50 </a:t>
            </a:r>
            <a:r>
              <a:rPr lang="prs" kern="0" dirty="0">
                <a:latin typeface="Franklin Gothic Book" panose="020B0503020102020204" pitchFamily="34" charset="0"/>
              </a:rPr>
              <a:t>کرون</a:t>
            </a:r>
            <a:endParaRPr lang="en-US" kern="0" dirty="0" smtClean="0">
              <a:latin typeface="Franklin Gothic Book" panose="020B0503020102020204" pitchFamily="34" charset="0"/>
            </a:endParaRPr>
          </a:p>
          <a:p>
            <a:pPr lvl="2" rtl="1"/>
            <a:r>
              <a:rPr lang="prs" kern="0" dirty="0">
                <a:latin typeface="Franklin Gothic Book" panose="020B0503020102020204" pitchFamily="34" charset="0"/>
              </a:rPr>
              <a:t>داروهای تجویزنشده 	قیمت کلی </a:t>
            </a:r>
          </a:p>
          <a:p>
            <a:pPr lvl="3" rtl="1"/>
            <a:r>
              <a:rPr lang="prs" kern="0" dirty="0">
                <a:latin typeface="Franklin Gothic Book" panose="020B0503020102020204" pitchFamily="34" charset="0"/>
              </a:rPr>
              <a:t>مثل اسپری بینی، مسکن یا آرام بخش</a:t>
            </a:r>
            <a:endParaRPr lang="en-US" kern="0" dirty="0">
              <a:latin typeface="Franklin Gothic Book" panose="020B0503020102020204" pitchFamily="34" charset="0"/>
            </a:endParaRPr>
          </a:p>
        </p:txBody>
      </p:sp>
      <p:pic>
        <p:nvPicPr>
          <p:cNvPr id="10" name="Picture 4" descr="http://c91prao.wikispaces.com/file/view/Kronans_Droghandel_logo.jpg/183096783/Kronans_Droghandel_logo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95" y="4260763"/>
            <a:ext cx="807445" cy="34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testbb.kf.se/Global/Bromma%20Blocks/2011%20butiksbilder/logga_608x357pxl.jpg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5" b="29512"/>
          <a:stretch/>
        </p:blipFill>
        <p:spPr bwMode="auto">
          <a:xfrm>
            <a:off x="785419" y="4290945"/>
            <a:ext cx="703801" cy="203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objekt 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220" y="3637190"/>
            <a:ext cx="1011797" cy="708258"/>
          </a:xfrm>
          <a:prstGeom prst="rect">
            <a:avLst/>
          </a:prstGeom>
        </p:spPr>
      </p:pic>
      <p:pic>
        <p:nvPicPr>
          <p:cNvPr id="15" name="Bildobjekt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2"/>
          <a:stretch/>
        </p:blipFill>
        <p:spPr>
          <a:xfrm>
            <a:off x="676503" y="3849835"/>
            <a:ext cx="773645" cy="3713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5994" y="5099244"/>
            <a:ext cx="1258229" cy="552807"/>
          </a:xfrm>
          <a:prstGeom prst="rect">
            <a:avLst/>
          </a:prstGeom>
        </p:spPr>
      </p:pic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540090" y="4924014"/>
            <a:ext cx="5928661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b="1" kern="0" dirty="0">
                <a:latin typeface="Franklin Gothic Book" panose="020B0503020102020204" pitchFamily="34" charset="0"/>
              </a:rPr>
              <a:t>عینک طبی</a:t>
            </a:r>
          </a:p>
          <a:p>
            <a:pPr lvl="1" rtl="1"/>
            <a:r>
              <a:rPr lang="prs" kern="0" dirty="0">
                <a:latin typeface="Franklin Gothic Book" panose="020B0503020102020204" pitchFamily="34" charset="0"/>
              </a:rPr>
              <a:t>لطفاً برای مراجعه به عینک ساز با Migrationsverket تماس بگیرید</a:t>
            </a:r>
            <a:endParaRPr lang="en-US" kern="0" dirty="0">
              <a:latin typeface="Franklin Gothic Book" panose="020B05030201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2450" y="1075174"/>
            <a:ext cx="8233550" cy="5084466"/>
          </a:xfrm>
          <a:prstGeom prst="rect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022136" y="1372871"/>
            <a:ext cx="1094715" cy="10224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22136" y="2658800"/>
            <a:ext cx="1094715" cy="97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6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55" y="2767029"/>
            <a:ext cx="4080664" cy="677108"/>
          </a:xfrm>
        </p:spPr>
        <p:txBody>
          <a:bodyPr rtlCol="1"/>
          <a:lstStyle/>
          <a:p>
            <a:pPr rtl="1"/>
            <a:r>
              <a:rPr lang="prs" sz="4400" dirty="0">
                <a:solidFill>
                  <a:schemeClr val="tx1"/>
                </a:solidFill>
              </a:rPr>
              <a:t>سؤالات</a:t>
            </a:r>
            <a:endParaRPr lang="sv-SE" sz="4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12389" y="1575195"/>
            <a:ext cx="2457450" cy="3476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1" anchor="t" anchorCtr="0">
            <a:noAutofit/>
          </a:bodyPr>
          <a:lstStyle/>
          <a:p>
            <a:pPr rtl="1">
              <a:lnSpc>
                <a:spcPct val="115000"/>
              </a:lnSpc>
              <a:spcAft>
                <a:spcPts val="0"/>
              </a:spcAft>
            </a:pPr>
            <a:r>
              <a:rPr lang="prs" sz="110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prs" sz="1100" b="1" strike="noStrike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prs" sz="110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9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prs"/>
              <a:t>فیلم معرفی</a:t>
            </a:r>
            <a:endParaRPr lang="sv-SE" dirty="0"/>
          </a:p>
        </p:txBody>
      </p:sp>
      <p:pic>
        <p:nvPicPr>
          <p:cNvPr id="10" name="Picture 8" descr="http://www.clipartbest.com/cliparts/jix/o55/jixo55R6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34" y="2267866"/>
            <a:ext cx="3645400" cy="250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flipH="1">
            <a:off x="2374900" y="2032000"/>
            <a:ext cx="4267200" cy="2880303"/>
          </a:xfrm>
          <a:prstGeom prst="rect">
            <a:avLst/>
          </a:prstGeom>
          <a:solidFill>
            <a:schemeClr val="bg1">
              <a:alpha val="72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4730" y="416847"/>
            <a:ext cx="8280103" cy="318686"/>
          </a:xfrm>
        </p:spPr>
        <p:txBody>
          <a:bodyPr rtlCol="1"/>
          <a:lstStyle/>
          <a:p>
            <a:pPr rtl="1"/>
            <a:r>
              <a:rPr lang="prs" dirty="0"/>
              <a:t>دستور جلسه‌ ارائه امروز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08094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قوانین کلی در مورد 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sv-SE" dirty="0" smtClean="0">
              <a:solidFill>
                <a:srgbClr val="FF0000"/>
              </a:solidFill>
            </a:endParaRP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 smtClean="0"/>
              <a:t>حقوق </a:t>
            </a:r>
            <a:r>
              <a:rPr lang="prs" dirty="0"/>
              <a:t>پناهجویان در زمینه مراقبت بهداشتی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چکاپ طبی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مراقبت از خود و خدمات اطلاعات 11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prs" dirty="0">
              <a:solidFill>
                <a:srgbClr val="FF0000"/>
              </a:solidFill>
            </a:endParaRPr>
          </a:p>
          <a:p>
            <a:pPr lvl="2" rtl="1"/>
            <a:r>
              <a:rPr lang="prs" dirty="0"/>
              <a:t>مراکز مراقبت بهداشتی محلی</a:t>
            </a:r>
          </a:p>
          <a:p>
            <a:pPr lvl="2" rtl="1"/>
            <a:r>
              <a:rPr lang="prs" dirty="0"/>
              <a:t>شفاخانه ها</a:t>
            </a:r>
          </a:p>
          <a:p>
            <a:pPr lvl="2" rtl="1"/>
            <a:r>
              <a:rPr lang="prs" dirty="0"/>
              <a:t>سایر خدمات (مثل خدمات دندان پزشکی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091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4730" y="416847"/>
            <a:ext cx="8289433" cy="318686"/>
          </a:xfrm>
        </p:spPr>
        <p:txBody>
          <a:bodyPr rtlCol="1"/>
          <a:lstStyle/>
          <a:p>
            <a:pPr rtl="1"/>
            <a:r>
              <a:rPr lang="prs" dirty="0"/>
              <a:t>دستور جلسه‌ ارائه امروز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26756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prs" b="1" dirty="0"/>
              <a:t>قوانین کلی در مورد سیستم مراقبت بهداشتی </a:t>
            </a:r>
            <a:r>
              <a:rPr lang="fa-IR" b="1" dirty="0" smtClean="0">
                <a:solidFill>
                  <a:srgbClr val="FF0000"/>
                </a:solidFill>
              </a:rPr>
              <a:t>سویدن</a:t>
            </a:r>
            <a:endParaRPr lang="sv-SE" b="1" dirty="0" smtClean="0">
              <a:solidFill>
                <a:srgbClr val="FF0000"/>
              </a:solidFill>
            </a:endParaRPr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حقوق پناهجویان در زمینه مراقبت بهداشتی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چکاپ طبی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مراقبت از خود و خدمات اطلاعات 11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prs" dirty="0">
              <a:solidFill>
                <a:srgbClr val="FF0000"/>
              </a:solidFill>
            </a:endParaRPr>
          </a:p>
          <a:p>
            <a:pPr lvl="2" rtl="1"/>
            <a:r>
              <a:rPr lang="prs" dirty="0"/>
              <a:t>مراکز مراقبت بهداشتی محلی</a:t>
            </a:r>
          </a:p>
          <a:p>
            <a:pPr lvl="2" rtl="1"/>
            <a:r>
              <a:rPr lang="prs" dirty="0"/>
              <a:t>شفاخانه ها</a:t>
            </a:r>
          </a:p>
          <a:p>
            <a:pPr lvl="2" rtl="1"/>
            <a:r>
              <a:rPr lang="prs" dirty="0"/>
              <a:t>سایر خدمات (مثل خدمات دندان پزشکی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461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prs" dirty="0"/>
              <a:t>ویژگی های خاصی در 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r>
              <a:rPr lang="prs" dirty="0" smtClean="0"/>
              <a:t> </a:t>
            </a:r>
            <a:r>
              <a:rPr lang="prs" dirty="0"/>
              <a:t>از جمله در نقشها و قوانین آن وجود دارد.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r>
              <a:rPr lang="prs"/>
              <a:t>	*	اگر عاجل و خطرآفرین نیست - به 112 تلیفون کنید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93535" y="1638189"/>
            <a:ext cx="5251054" cy="3600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t" anchorCtr="0" compatLnSpc="1">
            <a:prstTxWarp prst="textNoShape">
              <a:avLst/>
            </a:prstTxWarp>
            <a:spAutoFit/>
          </a:bodyPr>
          <a:lstStyle>
            <a:lvl1pPr marL="0" indent="0" algn="r" defTabSz="895255" rtl="1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r" defTabSz="895255" rtl="1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r" defTabSz="895255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r" defTabSz="895255" rtl="1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r" defTabSz="895255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1">
              <a:spcBef>
                <a:spcPts val="0"/>
              </a:spcBef>
            </a:pPr>
            <a:r>
              <a:rPr lang="prs" sz="1800" kern="0" dirty="0">
                <a:latin typeface="Franklin Gothic Book" panose="020B0503020102020204" pitchFamily="34" charset="0"/>
              </a:rPr>
              <a:t>پرستان نقش بسیار مهمی دارند و بسیار باسواد هستند.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prs" sz="1800" kern="0" dirty="0">
                <a:latin typeface="Franklin Gothic Book" panose="020B0503020102020204" pitchFamily="34" charset="0"/>
              </a:rPr>
              <a:t>وقت شناسی بسیار ضروری است - در غیراین صورت نوبت به بیماران دیگر میرسد.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prs" sz="1800" kern="0" dirty="0">
                <a:latin typeface="Franklin Gothic Book" panose="020B0503020102020204" pitchFamily="34" charset="0"/>
              </a:rPr>
              <a:t>قبل از شفاخانه به مرکز مراقبت بهداشتی خود بروید*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prs" sz="1800" kern="0" dirty="0">
                <a:latin typeface="Franklin Gothic Book" panose="020B0503020102020204" pitchFamily="34" charset="0"/>
              </a:rPr>
              <a:t>پرستان و داکتران به سوگندنامه رازدارى‌ قسم خورده اند.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prs" sz="1800" kern="0" dirty="0">
                <a:latin typeface="Franklin Gothic Book" panose="020B0503020102020204" pitchFamily="34" charset="0"/>
              </a:rPr>
              <a:t>اگر زبان </a:t>
            </a:r>
            <a:r>
              <a:rPr lang="fa-IR" sz="1800" kern="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سوید</a:t>
            </a:r>
            <a:r>
              <a:rPr lang="prs" sz="1800" kern="0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ی </a:t>
            </a:r>
            <a:r>
              <a:rPr lang="prs" sz="1800" kern="0" dirty="0">
                <a:latin typeface="Franklin Gothic Book" panose="020B0503020102020204" pitchFamily="34" charset="0"/>
              </a:rPr>
              <a:t>بلد نیستید باید یک مترجم شفاهی داشته باشید </a:t>
            </a:r>
            <a:r>
              <a:rPr lang="sv-SE" sz="1800" kern="0" dirty="0" smtClean="0">
                <a:latin typeface="Franklin Gothic Book" panose="020B0503020102020204" pitchFamily="34" charset="0"/>
              </a:rPr>
              <a:t/>
            </a:r>
            <a:br>
              <a:rPr lang="sv-SE" sz="1800" kern="0" dirty="0" smtClean="0">
                <a:latin typeface="Franklin Gothic Book" panose="020B0503020102020204" pitchFamily="34" charset="0"/>
              </a:rPr>
            </a:br>
            <a:r>
              <a:rPr lang="prs" sz="1800" kern="0" dirty="0" smtClean="0">
                <a:latin typeface="Franklin Gothic Book" panose="020B0503020102020204" pitchFamily="34" charset="0"/>
              </a:rPr>
              <a:t>(</a:t>
            </a:r>
            <a:r>
              <a:rPr lang="prs" sz="1800" kern="0" dirty="0">
                <a:latin typeface="Franklin Gothic Book" panose="020B0503020102020204" pitchFamily="34" charset="0"/>
              </a:rPr>
              <a:t>که او هم باید به سوگندنامه رازدارى‌ قسم خورده باشد).</a:t>
            </a:r>
          </a:p>
          <a:p>
            <a:pPr lvl="1" rtl="1">
              <a:spcBef>
                <a:spcPts val="0"/>
              </a:spcBef>
            </a:pPr>
            <a:endParaRPr lang="en-US" sz="1800" kern="0" dirty="0">
              <a:latin typeface="Franklin Gothic Book" panose="020B0503020102020204" pitchFamily="34" charset="0"/>
            </a:endParaRPr>
          </a:p>
          <a:p>
            <a:pPr lvl="1" rtl="1">
              <a:spcBef>
                <a:spcPts val="0"/>
              </a:spcBef>
            </a:pPr>
            <a:r>
              <a:rPr lang="prs" sz="1800" kern="0" dirty="0">
                <a:latin typeface="Franklin Gothic Book" panose="020B0503020102020204" pitchFamily="34" charset="0"/>
              </a:rPr>
              <a:t>دسترسی به آنتی بیوتیک تنها در ایستگاه MRSA ممکن است</a:t>
            </a:r>
            <a:endParaRPr lang="sv-SE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31510" y="2130785"/>
            <a:ext cx="2231063" cy="3169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097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4730" y="416847"/>
            <a:ext cx="8326756" cy="318686"/>
          </a:xfrm>
        </p:spPr>
        <p:txBody>
          <a:bodyPr rtlCol="1"/>
          <a:lstStyle/>
          <a:p>
            <a:pPr rtl="1"/>
            <a:r>
              <a:rPr lang="prs" dirty="0"/>
              <a:t>دستور جلسه‌ ارائه امروز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54748" cy="4732065"/>
          </a:xfrm>
        </p:spPr>
        <p:txBody>
          <a:bodyPr rtlCol="1"/>
          <a:lstStyle/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قوانین کلی در مورد 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sv-SE" dirty="0">
              <a:solidFill>
                <a:srgbClr val="FF0000"/>
              </a:solidFill>
            </a:endParaRPr>
          </a:p>
          <a:p>
            <a:pPr marL="458788" lvl="1" indent="-457200" rtl="1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b="1" dirty="0"/>
              <a:t>حقوق پناهجویان در زمینه مراقبت بهداشتی 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چکاپ طبی</a:t>
            </a: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endParaRPr lang="sv-SE" dirty="0" smtClean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مراقبت از خود و خدمات اطلاعات 1177</a:t>
            </a:r>
          </a:p>
          <a:p>
            <a:pPr marL="458788" lvl="1" indent="-457200" rtl="1">
              <a:buFont typeface="+mj-lt"/>
              <a:buAutoNum type="arabicPeriod"/>
            </a:pPr>
            <a:endParaRPr lang="sv-SE" dirty="0"/>
          </a:p>
          <a:p>
            <a:pPr marL="458788" lvl="1" indent="-457200" rtl="1">
              <a:buFont typeface="+mj-lt"/>
              <a:buAutoNum type="arabicPeriod"/>
            </a:pPr>
            <a:r>
              <a:rPr lang="prs" dirty="0"/>
              <a:t>سیستم مراقبت بهداشتی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endParaRPr lang="prs" dirty="0">
              <a:solidFill>
                <a:srgbClr val="FF0000"/>
              </a:solidFill>
            </a:endParaRPr>
          </a:p>
          <a:p>
            <a:pPr lvl="2" rtl="1"/>
            <a:r>
              <a:rPr lang="prs" dirty="0"/>
              <a:t>مراکز مراقبت بهداشتی محلی</a:t>
            </a:r>
          </a:p>
          <a:p>
            <a:pPr lvl="2" rtl="1"/>
            <a:r>
              <a:rPr lang="prs" dirty="0"/>
              <a:t>شفاخانه ها</a:t>
            </a:r>
          </a:p>
          <a:p>
            <a:pPr lvl="2" rtl="1"/>
            <a:r>
              <a:rPr lang="prs" dirty="0"/>
              <a:t>سایر خدمات (مثل خدمات دندان پزشکی)</a:t>
            </a:r>
          </a:p>
          <a:p>
            <a:pPr lvl="2" rt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04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 txBox="1">
            <a:spLocks/>
          </p:cNvSpPr>
          <p:nvPr/>
        </p:nvSpPr>
        <p:spPr bwMode="auto">
          <a:xfrm>
            <a:off x="294730" y="240163"/>
            <a:ext cx="8374608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1" anchor="b" anchorCtr="0" compatLnSpc="1">
            <a:prstTxWarp prst="textNoShape">
              <a:avLst/>
            </a:prstTxWarp>
            <a:spAutoFit/>
          </a:bodyPr>
          <a:lstStyle/>
          <a:p>
            <a:pPr lvl="0" defTabSz="895255"/>
            <a:r>
              <a:rPr lang="ar-AE" sz="3400" kern="0" dirty="0" smtClean="0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rPr>
              <a:t>منطقه ها باید مراقبت هایی ارائه دهند که پناهجویان بزرگسال را در انتظار نگذارد</a:t>
            </a:r>
            <a:endParaRPr kumimoji="0" lang="sv-SE" sz="3400" b="0" i="0" u="none" strike="noStrike" kern="0" cap="none" spc="0" normalizeH="0" baseline="0" noProof="0" dirty="0">
              <a:ln>
                <a:noFill/>
              </a:ln>
              <a:solidFill>
                <a:srgbClr val="E6460A"/>
              </a:solidFill>
              <a:effectLst/>
              <a:uLnTx/>
              <a:uFillTx/>
              <a:latin typeface="Georgia" pitchFamily="18" charset="0"/>
              <a:ea typeface="+mj-ea"/>
              <a:cs typeface="Georgia" pitchFamily="18" charset="0"/>
            </a:endParaRPr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4294967295"/>
          </p:nvPr>
        </p:nvSpPr>
        <p:spPr>
          <a:xfrm>
            <a:off x="293361" y="1333770"/>
            <a:ext cx="8375977" cy="276999"/>
          </a:xfrm>
          <a:prstGeom prst="rect">
            <a:avLst/>
          </a:prstGeom>
        </p:spPr>
        <p:txBody>
          <a:bodyPr/>
          <a:lstStyle/>
          <a:p>
            <a:r>
              <a:rPr lang="ar-AE" dirty="0" smtClean="0"/>
              <a:t>مسئولیت های منطقه ای پناهجویان بزرگسال بیشتر از 18 سال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3869716" y="2261458"/>
            <a:ext cx="4799621" cy="353233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" name="Text Placeholder 2"/>
          <p:cNvSpPr txBox="1">
            <a:spLocks/>
          </p:cNvSpPr>
          <p:nvPr/>
        </p:nvSpPr>
        <p:spPr>
          <a:xfrm>
            <a:off x="1202106" y="4807580"/>
            <a:ext cx="1041252" cy="2589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ar-A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بزرگسالان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0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60" y="2868948"/>
            <a:ext cx="1804451" cy="180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 Placeholder 2"/>
          <p:cNvSpPr txBox="1">
            <a:spLocks/>
          </p:cNvSpPr>
          <p:nvPr/>
        </p:nvSpPr>
        <p:spPr>
          <a:xfrm>
            <a:off x="4379810" y="2176621"/>
            <a:ext cx="3645106" cy="5018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9837" y="2397907"/>
            <a:ext cx="497758" cy="539094"/>
          </a:xfrm>
          <a:prstGeom prst="rect">
            <a:avLst/>
          </a:prstGeom>
        </p:spPr>
      </p:pic>
      <p:sp>
        <p:nvSpPr>
          <p:cNvPr id="33" name="Text Placeholder 2"/>
          <p:cNvSpPr txBox="1">
            <a:spLocks/>
          </p:cNvSpPr>
          <p:nvPr/>
        </p:nvSpPr>
        <p:spPr>
          <a:xfrm>
            <a:off x="4543866" y="2397907"/>
            <a:ext cx="3991144" cy="4860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b="1" kern="0" dirty="0" smtClean="0">
                <a:latin typeface="Franklin Gothic Book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نطقه ها باید مراقبت هایی ارائه دهند </a:t>
            </a:r>
            <a:r>
              <a:rPr lang="ar-AE" kern="0" dirty="0" smtClean="0">
                <a:latin typeface="Franklin Gothic Book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که توسط کارمندان بخش طبی مشخص شده) </a:t>
            </a:r>
            <a:r>
              <a:rPr lang="ar-AE" b="1" kern="0" dirty="0" smtClean="0">
                <a:latin typeface="Franklin Gothic Book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که پناهجویان بزرگسال را در انتظار نگذارد، از جمله:</a:t>
            </a:r>
            <a:endParaRPr lang="sv-SE" kern="0" dirty="0">
              <a:latin typeface="Franklin Gothic Book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 Placeholder 2"/>
          <p:cNvSpPr txBox="1">
            <a:spLocks/>
          </p:cNvSpPr>
          <p:nvPr/>
        </p:nvSpPr>
        <p:spPr>
          <a:xfrm>
            <a:off x="5156958" y="3121683"/>
            <a:ext cx="3339927" cy="381171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رائه دارو برای بیماران عاجل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5156958" y="3437925"/>
            <a:ext cx="3339927" cy="377448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کمک های طبی پایه ای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5156959" y="3836362"/>
            <a:ext cx="3311792" cy="35581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دسترسی/حمل و نقل به مراکز مراقبت بهداشتی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5156959" y="4193701"/>
            <a:ext cx="3283656" cy="336096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راقبت در طول بارداری یا حاملگی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5156958" y="4551040"/>
            <a:ext cx="3246061" cy="33635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قط جنین و جلوگيرى‌ از آبستنی یا بارداری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4720079" y="5070277"/>
            <a:ext cx="3682940" cy="48609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1"/>
            <a:r>
              <a:rPr lang="ar-AE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حقوق شخصی - تمام کارمندان بخش طبی به سوگندنامه رازدارى‌ قسم خورده اند.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0" name="Picture 39" descr="gravi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4216327"/>
            <a:ext cx="348311" cy="34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2" descr="bus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828208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4" descr="hjälpmede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2" y="3437925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8" descr="medici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042" y="3077185"/>
            <a:ext cx="333373" cy="333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79488" y="2485393"/>
            <a:ext cx="1672608" cy="2223192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691961" y="3077185"/>
            <a:ext cx="373063" cy="333421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10" cstate="print"/>
          <a:srcRect l="6011" r="4478"/>
          <a:stretch/>
        </p:blipFill>
        <p:spPr>
          <a:xfrm>
            <a:off x="4691961" y="3437925"/>
            <a:ext cx="373063" cy="349267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11" cstate="print"/>
          <a:srcRect l="5113" r="4017"/>
          <a:stretch/>
        </p:blipFill>
        <p:spPr>
          <a:xfrm>
            <a:off x="4691961" y="3824456"/>
            <a:ext cx="373381" cy="355403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2" cstate="print"/>
          <a:srcRect l="3655" t="3835" r="3777" b="5863"/>
          <a:stretch/>
        </p:blipFill>
        <p:spPr>
          <a:xfrm>
            <a:off x="4691961" y="4208335"/>
            <a:ext cx="373428" cy="357196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691961" y="4611352"/>
            <a:ext cx="373063" cy="325726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049837" y="4997134"/>
            <a:ext cx="544270" cy="508186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1"/>
          <a:lstStyle/>
          <a:p>
            <a:pPr rtl="1"/>
            <a:r>
              <a:rPr lang="prs" dirty="0"/>
              <a:t>هر منطقه باید به همان اندازه به اطفال پناهجو خدمات دهد که به اطفال </a:t>
            </a:r>
            <a:r>
              <a:rPr lang="fa-IR" dirty="0" smtClean="0">
                <a:solidFill>
                  <a:srgbClr val="FF0000"/>
                </a:solidFill>
              </a:rPr>
              <a:t>سویدن</a:t>
            </a:r>
            <a:r>
              <a:rPr lang="prs" dirty="0" smtClean="0"/>
              <a:t>ی </a:t>
            </a:r>
            <a:r>
              <a:rPr lang="prs" dirty="0"/>
              <a:t>خدمات میدهد.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1"/>
          <a:lstStyle/>
          <a:p>
            <a:pPr rtl="1"/>
            <a:r>
              <a:rPr lang="prs"/>
              <a:t>مسئولیت های منطقه ای پناهجویان اطفال کمتر از 18 سال</a:t>
            </a:r>
            <a:endParaRPr lang="sv-SE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1"/>
          <a:lstStyle/>
          <a:p>
            <a:pPr rtl="1"/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7" y="2160718"/>
            <a:ext cx="4533302" cy="235532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t" anchorCtr="0"/>
          <a:lstStyle/>
          <a:p>
            <a:pPr algn="ctr" rtl="1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79810" y="1278880"/>
            <a:ext cx="3645106" cy="501829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endParaRPr lang="sv-SE" sz="1400" b="1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202106" y="4257051"/>
            <a:ext cx="1041252" cy="258996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1"/>
            <a:r>
              <a:rPr lang="prs" b="1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طفال 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4817355" y="2406085"/>
            <a:ext cx="3361780" cy="1419847"/>
          </a:xfrm>
          <a:prstGeom prst="rect">
            <a:avLst/>
          </a:prstGeom>
        </p:spPr>
        <p:txBody>
          <a:bodyPr vert="horz" lIns="0" tIns="0" rIns="0" bIns="0" rtlCol="1" anchor="t" anchorCtr="0"/>
          <a:lstStyle>
            <a:lvl1pPr marL="0" indent="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r" defTabSz="895160" rtl="1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r" defTabSz="895160" rtl="1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1"/>
            <a:r>
              <a:rPr lang="pr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طفال</a:t>
            </a:r>
            <a:r>
              <a:rPr lang="pr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و نوجوانان </a:t>
            </a:r>
            <a:r>
              <a:rPr lang="pr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مطابق شرایط یکسانی </a:t>
            </a:r>
            <a:r>
              <a:rPr lang="pr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با اطفال/نوجوانان ساکن </a:t>
            </a:r>
            <a:r>
              <a:rPr lang="fa-IR" kern="0" dirty="0" smtClean="0">
                <a:solidFill>
                  <a:srgbClr val="FF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سویدن</a:t>
            </a:r>
            <a:r>
              <a:rPr lang="prs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pr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خدمات طبی و دندان پزشکی دریافت می کنند.</a:t>
            </a:r>
          </a:p>
          <a:p>
            <a:pPr rtl="1"/>
            <a:endParaRPr lang="en-US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rtl="1"/>
            <a:r>
              <a:rPr lang="pr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تمام خدمات طبی و دندان پزشکی برای اطفال </a:t>
            </a:r>
            <a:r>
              <a:rPr lang="prs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رایگان </a:t>
            </a:r>
            <a:r>
              <a:rPr lang="prs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است.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164" y="1983152"/>
            <a:ext cx="1922852" cy="22738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41196" y="2441572"/>
            <a:ext cx="663127" cy="604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41196" y="3575272"/>
            <a:ext cx="683108" cy="61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2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_mal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KL_mall" id="{F51252A8-ABD8-4BBC-99BF-B21C4FD4F9EB}" vid="{00100721-A95F-4E19-982A-99E23CF2C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_mall</Template>
  <TotalTime>0</TotalTime>
  <Words>1209</Words>
  <Application>Microsoft Office PowerPoint</Application>
  <PresentationFormat>Custom</PresentationFormat>
  <Paragraphs>233</Paragraphs>
  <Slides>2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SKL_mall</vt:lpstr>
      <vt:lpstr>think-cell Slide</vt:lpstr>
      <vt:lpstr>مراقبت بهداشتی برای پناهجویان  </vt:lpstr>
      <vt:lpstr>هدف ارائه و مطالب امروز</vt:lpstr>
      <vt:lpstr>فیلم معرفی</vt:lpstr>
      <vt:lpstr>دستور جلسه‌ ارائه امروز</vt:lpstr>
      <vt:lpstr>دستور جلسه‌ ارائه امروز</vt:lpstr>
      <vt:lpstr>ویژگی های خاصی در سیستم مراقبت بهداشتی سویدن از جمله در نقشها و قوانین آن وجود دارد.</vt:lpstr>
      <vt:lpstr>دستور جلسه‌ ارائه امروز</vt:lpstr>
      <vt:lpstr>PowerPoint Presentation</vt:lpstr>
      <vt:lpstr>هر منطقه باید به همان اندازه به اطفال پناهجو خدمات دهد که به اطفال سویدنی خدمات میدهد.</vt:lpstr>
      <vt:lpstr>دستور جلسه‌ ارائه امروز</vt:lpstr>
      <vt:lpstr>چکاپ طبی سرآغاز دسترسی به مراقبت های بهداشتی سویدن است.</vt:lpstr>
      <vt:lpstr>وقتی نوبت شما شود نامه ای دریافت خواهید کرد،  و حتماً باید سر وقت و به موقع تشریف بیاورید.</vt:lpstr>
      <vt:lpstr>چکاپ طبی رایگان است و بر فرآیند پناهجویی شما تأثیر ندارد - تنها برای صحت شماست</vt:lpstr>
      <vt:lpstr>اگر مشکلات طبی دارید 1177 توصیه های خودمراقبتی زیادی برای شما دارد - آنها میتوانند شما را راهنمایی کنند که به چه مراکزی بروید</vt:lpstr>
      <vt:lpstr>کانال های پرسش و پاسخ، اطلاعاتی و خودیاری 24 ساعته و 7 روز هفته با توصیه هایی ضروری در خدمت شما هستند</vt:lpstr>
      <vt:lpstr>مراکز مراقبت های بهداشتی محلی اولین محل برای گرفتن کمک است</vt:lpstr>
      <vt:lpstr>مرکز مراقبت بهداشتی محلی -   انتخاب اصلی در صورت نیاز به کمک طبی</vt:lpstr>
      <vt:lpstr>اطلاعاتی در مورد مرکز مراقبت های بهداشتی محلی</vt:lpstr>
      <vt:lpstr>شفاخانه ها -  برای کسب اطلاعات در مورد شرایط و مراقبت های بستری که به تخصص های جانبی نیاز دارد</vt:lpstr>
      <vt:lpstr>شفاخانه ها -  برای کسب اطلاعات در مورد شرایط و مراقبت های بستری که به تخصص های جانبی نیاز دارد</vt:lpstr>
      <vt:lpstr>هزینه خدمات مراقبت های بهداشتی را تنها بزرگسالان بدون طفل و در طول فرآیند پناهجویی باید پرداخت کنند.</vt:lpstr>
      <vt:lpstr>دستور جلسه‌ ارائه امروز</vt:lpstr>
      <vt:lpstr>سایر خدمات ضروری مثل دندانپزشکی و داروها نیز موجود است</vt:lpstr>
      <vt:lpstr>سؤالات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3:51:32Z</dcterms:created>
  <dcterms:modified xsi:type="dcterms:W3CDTF">2016-05-31T12:18:38Z</dcterms:modified>
</cp:coreProperties>
</file>